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>
        <p:scale>
          <a:sx n="75" d="100"/>
          <a:sy n="75" d="100"/>
        </p:scale>
        <p:origin x="974" y="21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3.png"/><Relationship Id="rId5" Type="http://schemas.openxmlformats.org/officeDocument/2006/relationships/hyperlink" Target="https://github.com/arychin/Shell-training" TargetMode="External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png"/><Relationship Id="rId5" Type="http://schemas.openxmlformats.org/officeDocument/2006/relationships/hyperlink" Target="https://github.com/arychin/Shell-training" TargetMode="External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</a:t>
            </a:r>
            <a:r>
              <a:rPr lang="en-US" sz="4000"/>
              <a:t>Week 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843222" y="4528163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chint Tiw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843222" y="5198601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710" y="478702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Agile methodology provides several advantages, such as cost savings, quality enhancement, faster timelines, risk reduction, greater flexibility, and ongoing improvement. According to my Team Lead, Shell uses a Scrum-based Agile approach, which greatly boosts the efficiency and effectiveness of its workflows.</a:t>
            </a:r>
          </a:p>
          <a:p>
            <a:r>
              <a:rPr lang="en-US" sz="1800" dirty="0"/>
              <a:t>The knowledge I've gained in SRS and BRD documentation will help me understand and potentially create these documents during my time at Shell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diagram of a scrum process&#10;&#10;Description automatically generated">
            <a:extLst>
              <a:ext uri="{FF2B5EF4-FFF2-40B4-BE49-F238E27FC236}">
                <a16:creationId xmlns:a16="http://schemas.microsoft.com/office/drawing/2014/main" id="{F7CD1B2E-2475-3F60-3730-62B4087C164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884" y="2584556"/>
            <a:ext cx="5031795" cy="262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Challenge faced: Interacting with other people has been a challenge for me always at the start.</a:t>
            </a:r>
          </a:p>
          <a:p>
            <a:pPr marL="0" indent="0">
              <a:buNone/>
            </a:pPr>
            <a:r>
              <a:rPr lang="en-US" sz="2000" dirty="0"/>
              <a:t>Solution: Games and interactive sessions were conducted to resolve this. </a:t>
            </a:r>
          </a:p>
          <a:p>
            <a:pPr marL="0" indent="0">
              <a:buNone/>
            </a:pPr>
            <a:r>
              <a:rPr lang="en-US" sz="2000" dirty="0">
                <a:hlinkClick r:id="rId5"/>
              </a:rPr>
              <a:t>https://github.com/arychin/Shell-training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cartoon of a person with his hand on his chin&#10;&#10;Description automatically generated">
            <a:extLst>
              <a:ext uri="{FF2B5EF4-FFF2-40B4-BE49-F238E27FC236}">
                <a16:creationId xmlns:a16="http://schemas.microsoft.com/office/drawing/2014/main" id="{0A878E5C-39B0-115E-4348-8D1D1EEE6A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7464" y="1941742"/>
            <a:ext cx="5012342" cy="3759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98202" y="187115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Challenge</a:t>
            </a:r>
            <a:r>
              <a:rPr lang="en-US" sz="1800" dirty="0"/>
              <a:t>: Managing stakeholders was a difficult and somewhat uninteresting subject to tackle. The presentation activity demanded that we carefully read the material and tailor our presentations based on audience analysis.</a:t>
            </a:r>
          </a:p>
          <a:p>
            <a:r>
              <a:rPr lang="en-US" sz="1800" b="1" dirty="0"/>
              <a:t>Solution</a:t>
            </a:r>
            <a:r>
              <a:rPr lang="en-US" sz="1800" dirty="0"/>
              <a:t>: Nitya’s engaging activities and comprehensive teaching approach made it easier to overcome these challenges.</a:t>
            </a:r>
          </a:p>
          <a:p>
            <a:pPr marL="0" indent="0">
              <a:buNone/>
            </a:pPr>
            <a:r>
              <a:rPr lang="en-US" sz="2000" dirty="0">
                <a:hlinkClick r:id="rId5"/>
              </a:rPr>
              <a:t>https://github.com/arychin/Shell-training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 group of women standing in front of a large screen&#10;&#10;Description automatically generated">
            <a:extLst>
              <a:ext uri="{FF2B5EF4-FFF2-40B4-BE49-F238E27FC236}">
                <a16:creationId xmlns:a16="http://schemas.microsoft.com/office/drawing/2014/main" id="{207D5D79-2BB0-D010-C76D-74AD137C43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2255520"/>
            <a:ext cx="5311794" cy="3040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hallenge Faced: It was our first rodeo with Business Requirement Specification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olution: Engaging team activity to document both the SRS and BRD document made it easier to understand.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project plan with text&#10;&#10;Description automatically generated with medium confidence">
            <a:extLst>
              <a:ext uri="{FF2B5EF4-FFF2-40B4-BE49-F238E27FC236}">
                <a16:creationId xmlns:a16="http://schemas.microsoft.com/office/drawing/2014/main" id="{0D32D480-B710-FC1A-9806-D4F9DB6CEA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110" y="1463040"/>
            <a:ext cx="4221690" cy="461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ding and reviewing all the notes and activities done during Soft Skills bootcamp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  Reviewing the concepts covered in Business Analytics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ining a clear understanding of the Agile process and SCRUM workflow 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turday: Brush up concepts of Business Analytics and SDLC Models.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nday: Go through the SCRUM framework and practice a few soft skills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764119E-6845-B742-7ACE-EE4936A7B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578" y="2432276"/>
            <a:ext cx="5273040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itya Ma’am's Engaging Approach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Nitya Ma’am was a lively and engaging instructor who made the soft skills sessions enjoyable and memorable. She even took the time to interact with us individuall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ive Activity for Engagement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The activity of designing a product logo, name, and tagline centered around the theme of sleep was a clever way to shake off drowsiness and spark our interest in the topics even more.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64ECFB3-361C-08BB-7888-50998F81F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2011758"/>
            <a:ext cx="5434988" cy="4076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F8A5D5BB-08BB-1644-BBD2-5A50A0566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065" y="1361923"/>
            <a:ext cx="10020255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nderstanding Core Concept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This week, I gained a solid grasp of critical ideas such as the Power Interest Grid, neuroplasticity, teamwork, and the essential components of delivering effective presentations. I also explored business analytics, the role of a product owner, and the Software Development Life Cycle (SDLC) and its various models. I believe this knowledge will be valuable in both my career and personal growth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oking Ahead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As I anticipate learning about the Scrum Agile model, gaining practical experience with Azure DevOps, and understanding testing practices, I recognize how important these topics are for my future as a Software Engineer. They are crucial for enhancing my expertise in software developmen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uilding on Knowledge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The insights I've gained about documentation, software models, and the functions of a Business Analyst this week have provided a strong foundation for the upcoming material. These concepts are closely linked with software engineering and will be key as I progress in my learning journey.</a:t>
            </a: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i="1" dirty="0"/>
              <a:t>Life is never made unbearable by circumstances, but only by the lack of meaning and purpose.</a:t>
            </a:r>
            <a:br>
              <a:rPr lang="en-US" sz="2000" i="1" dirty="0"/>
            </a:br>
            <a:r>
              <a:rPr lang="en-US" sz="2000" i="1" dirty="0"/>
              <a:t>~ Victor Frank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  <p:pic>
        <p:nvPicPr>
          <p:cNvPr id="6" name="Picture 5" descr="A person in a black coat holding a sword in front of a group of men&#10;&#10;Description automatically generated">
            <a:extLst>
              <a:ext uri="{FF2B5EF4-FFF2-40B4-BE49-F238E27FC236}">
                <a16:creationId xmlns:a16="http://schemas.microsoft.com/office/drawing/2014/main" id="{0B394944-E6E3-9DDF-4626-3884F1745B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341" y="2442377"/>
            <a:ext cx="5089624" cy="285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/>
              <a:t>Soft Skills Day 1: 26</a:t>
            </a:r>
            <a:r>
              <a:rPr lang="en-US" sz="2000" b="1" u="sng" baseline="30000" dirty="0"/>
              <a:t>th</a:t>
            </a:r>
            <a:r>
              <a:rPr lang="en-US" sz="2000" b="1" u="sng" dirty="0"/>
              <a:t> August 2024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Types of performers (CART Analogy)</a:t>
            </a:r>
          </a:p>
          <a:p>
            <a:r>
              <a:rPr lang="en-US" sz="2000" dirty="0"/>
              <a:t>POWER technique</a:t>
            </a:r>
          </a:p>
          <a:p>
            <a:r>
              <a:rPr lang="en-US" sz="2000" dirty="0"/>
              <a:t>Etiquettes</a:t>
            </a:r>
          </a:p>
          <a:p>
            <a:r>
              <a:rPr lang="en-US" sz="2000" dirty="0"/>
              <a:t>Neuroplasticity (Fixed mindset Vs Growth mindset)</a:t>
            </a:r>
          </a:p>
          <a:p>
            <a:r>
              <a:rPr lang="en-US" sz="2000" dirty="0"/>
              <a:t>What is means to be a professional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omparison of different colored brain&#10;&#10;Description automatically generated with medium confidence">
            <a:extLst>
              <a:ext uri="{FF2B5EF4-FFF2-40B4-BE49-F238E27FC236}">
                <a16:creationId xmlns:a16="http://schemas.microsoft.com/office/drawing/2014/main" id="{B0A39DF5-CA2A-2AB1-DA89-2E7913E6BC2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190" y="1638156"/>
            <a:ext cx="4134308" cy="413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/>
              <a:t>Soft Skills Day 2 and Day 3: 27</a:t>
            </a:r>
            <a:r>
              <a:rPr lang="en-US" sz="2000" b="1" u="sng" baseline="30000" dirty="0"/>
              <a:t>th</a:t>
            </a:r>
            <a:r>
              <a:rPr lang="en-US" sz="2000" b="1" u="sng" dirty="0"/>
              <a:t> August 2024 to 28</a:t>
            </a:r>
            <a:r>
              <a:rPr lang="en-US" sz="2000" b="1" u="sng" baseline="30000" dirty="0"/>
              <a:t>th</a:t>
            </a:r>
            <a:r>
              <a:rPr lang="en-US" sz="2000" b="1" u="sng" dirty="0"/>
              <a:t> August 2024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Email etiquettes </a:t>
            </a:r>
          </a:p>
          <a:p>
            <a:r>
              <a:rPr lang="en-US" sz="2000" dirty="0"/>
              <a:t>Stakeholder management </a:t>
            </a:r>
          </a:p>
          <a:p>
            <a:r>
              <a:rPr lang="en-US" sz="2000" dirty="0"/>
              <a:t>Tucker Model</a:t>
            </a:r>
          </a:p>
          <a:p>
            <a:r>
              <a:rPr lang="en-US" sz="2000" dirty="0"/>
              <a:t>Self Orientation</a:t>
            </a:r>
          </a:p>
          <a:p>
            <a:r>
              <a:rPr lang="en-US" sz="2000" dirty="0"/>
              <a:t>Grooming</a:t>
            </a:r>
          </a:p>
          <a:p>
            <a:r>
              <a:rPr lang="en-US" sz="2000" dirty="0"/>
              <a:t>Presentation skills</a:t>
            </a:r>
          </a:p>
          <a:p>
            <a:r>
              <a:rPr lang="en-US" sz="2000" dirty="0"/>
              <a:t>Team work</a:t>
            </a:r>
          </a:p>
        </p:txBody>
      </p:sp>
      <p:pic>
        <p:nvPicPr>
          <p:cNvPr id="5" name="Picture 4" descr="A group of people reaching for each other&#10;&#10;Description automatically generated">
            <a:extLst>
              <a:ext uri="{FF2B5EF4-FFF2-40B4-BE49-F238E27FC236}">
                <a16:creationId xmlns:a16="http://schemas.microsoft.com/office/drawing/2014/main" id="{FD34A608-D044-B5CF-303B-4F6198D437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401" y="1882608"/>
            <a:ext cx="5152644" cy="3428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/>
              <a:t>Technical Boot Camp Day 4 and Day 5: 29</a:t>
            </a:r>
            <a:r>
              <a:rPr lang="en-US" sz="2000" b="1" u="sng" baseline="30000" dirty="0"/>
              <a:t>th</a:t>
            </a:r>
            <a:r>
              <a:rPr lang="en-US" sz="2000" b="1" u="sng" dirty="0"/>
              <a:t> August 2024 to 30</a:t>
            </a:r>
            <a:r>
              <a:rPr lang="en-US" sz="2000" b="1" u="sng" baseline="30000" dirty="0"/>
              <a:t>th</a:t>
            </a:r>
            <a:r>
              <a:rPr lang="en-US" sz="2000" b="1" u="sng" dirty="0"/>
              <a:t> August 2024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Business Analytics</a:t>
            </a:r>
          </a:p>
          <a:p>
            <a:r>
              <a:rPr lang="en-US" sz="2000" dirty="0"/>
              <a:t>SDLC and its models</a:t>
            </a:r>
          </a:p>
          <a:p>
            <a:r>
              <a:rPr lang="en-US" sz="2000" dirty="0"/>
              <a:t>Requirement Analysis</a:t>
            </a:r>
          </a:p>
          <a:p>
            <a:r>
              <a:rPr lang="en-US" sz="2000" dirty="0"/>
              <a:t>Requirement Management </a:t>
            </a:r>
          </a:p>
          <a:p>
            <a:r>
              <a:rPr lang="en-US" sz="2000" dirty="0"/>
              <a:t>Requirement Elicitation 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5083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diagram of software development life cycle&#10;&#10;Description automatically generated">
            <a:extLst>
              <a:ext uri="{FF2B5EF4-FFF2-40B4-BE49-F238E27FC236}">
                <a16:creationId xmlns:a16="http://schemas.microsoft.com/office/drawing/2014/main" id="{CB103A6F-1CB5-1EF7-41AC-11261A43C4B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2614961"/>
            <a:ext cx="5232696" cy="2627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39883" y="181785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Shell can apply Day 1 learnings by using the CART analogy to identify and support top performers, while aiding others in reaching their potential. </a:t>
            </a:r>
          </a:p>
          <a:p>
            <a:pPr marL="0" indent="0">
              <a:buNone/>
            </a:pPr>
            <a:r>
              <a:rPr lang="en-US" sz="1800" dirty="0"/>
              <a:t>The POWER technique could be incorporated into communication training for clarity and effectiveness. By promoting a growth mindset and professional qualities, Shell enhances employee performance, innovation, and productivity, leading to better problem-solving, increased efficiency, and a more engaged workforce, ultimately driving Shell's succes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black pencil on a white paper&#10;&#10;Description automatically generated">
            <a:extLst>
              <a:ext uri="{FF2B5EF4-FFF2-40B4-BE49-F238E27FC236}">
                <a16:creationId xmlns:a16="http://schemas.microsoft.com/office/drawing/2014/main" id="{0F87AB27-EB01-94EF-9882-F190D3A63BA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947" y="2272878"/>
            <a:ext cx="5159733" cy="316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TKYs method held in Shell emphasizes on Shell’s communication and network capabilities. They follow a safe and open culture for everyone to feel included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takeholder management is highly relevant for Shell due to the complex and multifaceted nature of its operations, which involves internal and external stakeholder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C542355-A34C-87B6-53E0-F778505B5135}"/>
              </a:ext>
            </a:extLst>
          </p:cNvPr>
          <p:cNvSpPr/>
          <p:nvPr/>
        </p:nvSpPr>
        <p:spPr>
          <a:xfrm>
            <a:off x="7276698" y="5351647"/>
            <a:ext cx="2021306" cy="962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screen shot of a computer&#10;&#10;Description automatically generated">
            <a:extLst>
              <a:ext uri="{FF2B5EF4-FFF2-40B4-BE49-F238E27FC236}">
                <a16:creationId xmlns:a16="http://schemas.microsoft.com/office/drawing/2014/main" id="{E5AEBB04-8013-D91A-BC10-0C31B6D1EE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5146" y="2037831"/>
            <a:ext cx="5142011" cy="3410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38</TotalTime>
  <Words>986</Words>
  <Application>Microsoft Office PowerPoint</Application>
  <PresentationFormat>Widescreen</PresentationFormat>
  <Paragraphs>10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CHINTYA TIWARY - 200911034</cp:lastModifiedBy>
  <cp:revision>506</cp:revision>
  <dcterms:created xsi:type="dcterms:W3CDTF">2022-01-18T12:35:56Z</dcterms:created>
  <dcterms:modified xsi:type="dcterms:W3CDTF">2024-09-01T19:3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